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14998699" r:id="rId2"/>
    <p:sldId id="257" r:id="rId3"/>
    <p:sldId id="14998700" r:id="rId4"/>
  </p:sldIdLst>
  <p:sldSz cx="12192000" cy="6858000"/>
  <p:notesSz cx="6858000" cy="9144000"/>
  <p:custDataLst>
    <p:tags r:id="rId5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111" d="100"/>
          <a:sy n="111" d="100"/>
        </p:scale>
        <p:origin x="78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98D4060-BC75-30CA-208D-876286C76F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4B48E227-2883-E949-D2FB-AA985631738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  <a:endParaRPr lang="en-US"/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949F8715-B201-6113-3AE9-3544F86B70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EE26DA-41BE-41F2-8526-478C51E3B2EA}" type="datetimeFigureOut">
              <a:rPr lang="en-US" smtClean="0"/>
              <a:t>9/2/2024</a:t>
            </a:fld>
            <a:endParaRPr 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60C9B3CC-C8E4-932E-5AB7-0D0866BD3B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B5C9FEB6-6E71-6055-71F2-8BBB2F9FBD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AE618-B78A-4E4C-9447-5402632093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122904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6AE6BE3-6E4F-37B9-7B00-C580BDE37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E2207F85-CA62-777D-3B0A-0176691A946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5CD0957A-DF22-7773-7D26-B8C01CA310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EE26DA-41BE-41F2-8526-478C51E3B2EA}" type="datetimeFigureOut">
              <a:rPr lang="en-US" smtClean="0"/>
              <a:t>9/2/2024</a:t>
            </a:fld>
            <a:endParaRPr 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D4ADC174-D4FF-2138-AFCF-3B8229A6FD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3A613F5A-0135-81DD-00E2-5E435DBE6F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AE618-B78A-4E4C-9447-5402632093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21158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>
            <a:extLst>
              <a:ext uri="{FF2B5EF4-FFF2-40B4-BE49-F238E27FC236}">
                <a16:creationId xmlns:a16="http://schemas.microsoft.com/office/drawing/2014/main" id="{0058CB87-8CE4-D60E-CB7B-2E48F324AAC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2114797F-F8F3-D2D9-8899-B0ACFDF5793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DB9876B4-13BE-EB83-DE02-B856CFF1E1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EE26DA-41BE-41F2-8526-478C51E3B2EA}" type="datetimeFigureOut">
              <a:rPr lang="en-US" smtClean="0"/>
              <a:t>9/2/2024</a:t>
            </a:fld>
            <a:endParaRPr 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CE6BEE57-1ABD-36EC-8224-C1C1F0FAD5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8D2548B8-4B27-804B-1C46-8DDC464E06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AE618-B78A-4E4C-9447-5402632093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543796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228818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C9B3C1A-EC51-E359-3C4F-44EA1EBFE4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7DF4EE5D-6523-EDD1-B70C-7A9A33706D4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E690E2E5-6946-6E47-7BA1-7DE5657D64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EE26DA-41BE-41F2-8526-478C51E3B2EA}" type="datetimeFigureOut">
              <a:rPr lang="en-US" smtClean="0"/>
              <a:t>9/2/2024</a:t>
            </a:fld>
            <a:endParaRPr 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8DBC75B9-1A39-715B-CDDF-4DE348B747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53B2A842-CC49-7B4D-33A1-1D27E653A5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AE618-B78A-4E4C-9447-5402632093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62945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58B5EF6-68E0-EA01-E159-F80FF00D77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CB920E3A-AC78-C6FF-C75F-2A7DC2EE57F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0F456EC9-1A0D-4DA7-0D63-516628D23F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EE26DA-41BE-41F2-8526-478C51E3B2EA}" type="datetimeFigureOut">
              <a:rPr lang="en-US" smtClean="0"/>
              <a:t>9/2/2024</a:t>
            </a:fld>
            <a:endParaRPr 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9C880974-BE0C-3129-518F-1C8412BF58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17A1CD86-545E-5789-8398-2670F70196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AE618-B78A-4E4C-9447-5402632093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65592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6DE5967-8DF5-890F-4B5B-7B88540327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DB4CFA99-3A23-473B-F243-2DC1D072B19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CD5FA356-51EC-D5A6-3C2B-28D14E3707D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E4CAAA29-87F1-2264-1781-9E8B62A29F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EE26DA-41BE-41F2-8526-478C51E3B2EA}" type="datetimeFigureOut">
              <a:rPr lang="en-US" smtClean="0"/>
              <a:t>9/2/2024</a:t>
            </a:fld>
            <a:endParaRPr 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E07215C4-7472-A28D-D97A-2A88311222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191C62A9-BC11-49B4-2280-396BD5A073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AE618-B78A-4E4C-9447-5402632093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4266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7D05104-67D2-F9E0-0786-06D4157DB1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78B9FE4F-19D4-E0E1-A538-B55FDD9B61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6463F6DD-D9EA-CBDE-B40A-B4AAC578369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09FB87E3-4D6E-06BF-03B6-23784E731F0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>
            <a:extLst>
              <a:ext uri="{FF2B5EF4-FFF2-40B4-BE49-F238E27FC236}">
                <a16:creationId xmlns:a16="http://schemas.microsoft.com/office/drawing/2014/main" id="{8AC1F0C8-4374-9A76-3FFF-352869AD420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7" name="日期占位符 6">
            <a:extLst>
              <a:ext uri="{FF2B5EF4-FFF2-40B4-BE49-F238E27FC236}">
                <a16:creationId xmlns:a16="http://schemas.microsoft.com/office/drawing/2014/main" id="{2AA80D9E-6DB1-71F9-80FF-6618D634C0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EE26DA-41BE-41F2-8526-478C51E3B2EA}" type="datetimeFigureOut">
              <a:rPr lang="en-US" smtClean="0"/>
              <a:t>9/2/2024</a:t>
            </a:fld>
            <a:endParaRPr lang="en-US"/>
          </a:p>
        </p:txBody>
      </p:sp>
      <p:sp>
        <p:nvSpPr>
          <p:cNvPr id="8" name="页脚占位符 7">
            <a:extLst>
              <a:ext uri="{FF2B5EF4-FFF2-40B4-BE49-F238E27FC236}">
                <a16:creationId xmlns:a16="http://schemas.microsoft.com/office/drawing/2014/main" id="{DFDF3DC2-FCDB-B180-0312-28CA514CE9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灯片编号占位符 8">
            <a:extLst>
              <a:ext uri="{FF2B5EF4-FFF2-40B4-BE49-F238E27FC236}">
                <a16:creationId xmlns:a16="http://schemas.microsoft.com/office/drawing/2014/main" id="{9E9F1702-B20F-318E-81BF-0CF3A2EDCE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AE618-B78A-4E4C-9447-5402632093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66115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C637183-D835-3C1F-846B-95C383B697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5B3A84B9-5E54-517D-9A9B-BC4FAB19FB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EE26DA-41BE-41F2-8526-478C51E3B2EA}" type="datetimeFigureOut">
              <a:rPr lang="en-US" smtClean="0"/>
              <a:t>9/2/2024</a:t>
            </a:fld>
            <a:endParaRPr 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377C10F8-1BF0-6A47-CDE1-699C121E1F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9C1F7630-E47A-7343-074C-04D56BCA0E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AE618-B78A-4E4C-9447-5402632093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50306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80E66181-BFCC-6F1A-8B46-94C4A17B9C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EE26DA-41BE-41F2-8526-478C51E3B2EA}" type="datetimeFigureOut">
              <a:rPr lang="en-US" smtClean="0"/>
              <a:t>9/2/2024</a:t>
            </a:fld>
            <a:endParaRPr 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B9A51886-B814-B3C0-179A-A28AEF3860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FD5CFDA9-2A25-9953-A54D-8ABE3D8FBB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AE618-B78A-4E4C-9447-5402632093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52439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0D4D008-CAFD-E4BD-05BC-7E7087D820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5F3B6E20-6713-EE39-9D1C-2B426F3FD7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32F0A81C-38A6-8139-C15E-CB229588AE0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AA727708-D712-201B-7DD9-78CD2C79C2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EE26DA-41BE-41F2-8526-478C51E3B2EA}" type="datetimeFigureOut">
              <a:rPr lang="en-US" smtClean="0"/>
              <a:t>9/2/2024</a:t>
            </a:fld>
            <a:endParaRPr 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2B233939-5EFD-C8F3-5D41-9FAE54DB65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E233FEAE-67B6-3D50-0000-13545B508D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AE618-B78A-4E4C-9447-5402632093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98954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09B9562-6470-D60F-FB90-7060A5E8AA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图片占位符 2">
            <a:extLst>
              <a:ext uri="{FF2B5EF4-FFF2-40B4-BE49-F238E27FC236}">
                <a16:creationId xmlns:a16="http://schemas.microsoft.com/office/drawing/2014/main" id="{D4D4F342-0EC1-5038-3CB1-A882412B670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7CD7AC45-6DB2-7CB4-DC7A-8F8EEC1F07B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7694C8DF-8C51-D096-F80A-B0342AAA8E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EE26DA-41BE-41F2-8526-478C51E3B2EA}" type="datetimeFigureOut">
              <a:rPr lang="en-US" smtClean="0"/>
              <a:t>9/2/2024</a:t>
            </a:fld>
            <a:endParaRPr 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B5F77C03-5B77-2A1B-9C81-5EDF63E5BC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B86415E9-1F15-B7E3-7A04-C7EA8C2065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AE618-B78A-4E4C-9447-5402632093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25153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DDE2F1B7-EF5F-CFFF-0742-A16FF47663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8511627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5" imgW="473" imgH="476" progId="TCLayout.ActiveDocument.1">
                  <p:embed/>
                </p:oleObj>
              </mc:Choice>
              <mc:Fallback>
                <p:oleObj name="think-cell 幻灯片" r:id="rId15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占位符 1">
            <a:extLst>
              <a:ext uri="{FF2B5EF4-FFF2-40B4-BE49-F238E27FC236}">
                <a16:creationId xmlns:a16="http://schemas.microsoft.com/office/drawing/2014/main" id="{F11CCE7F-69A2-8822-9152-1D468F6C9D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860C9E29-34CE-030C-991C-2CF26A808D3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E81C5E06-185F-27A0-BE61-29D1465E778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EE26DA-41BE-41F2-8526-478C51E3B2EA}" type="datetimeFigureOut">
              <a:rPr lang="en-US" smtClean="0"/>
              <a:t>9/2/2024</a:t>
            </a:fld>
            <a:endParaRPr 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BE655C2D-9135-0928-BD59-AF87FC0297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8F07BB93-A763-A521-EDAE-59ECD87CE6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09AE618-B78A-4E4C-9447-5402632093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94577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小李PPT11"/>
          <p:cNvSpPr/>
          <p:nvPr/>
        </p:nvSpPr>
        <p:spPr>
          <a:xfrm>
            <a:off x="7392347" y="0"/>
            <a:ext cx="4689991" cy="6858000"/>
          </a:xfrm>
          <a:prstGeom prst="parallelogram">
            <a:avLst>
              <a:gd name="adj" fmla="val 34956"/>
            </a:avLst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4" name="小李PPT12"/>
          <p:cNvSpPr/>
          <p:nvPr/>
        </p:nvSpPr>
        <p:spPr>
          <a:xfrm>
            <a:off x="7660480" y="0"/>
            <a:ext cx="4689991" cy="6858000"/>
          </a:xfrm>
          <a:prstGeom prst="parallelogram">
            <a:avLst>
              <a:gd name="adj" fmla="val 34956"/>
            </a:avLst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思源黑体 CN Normal"/>
              <a:cs typeface="+mn-cs"/>
            </a:endParaRPr>
          </a:p>
        </p:txBody>
      </p:sp>
      <p:sp>
        <p:nvSpPr>
          <p:cNvPr id="5" name="小李PPT13"/>
          <p:cNvSpPr txBox="1"/>
          <p:nvPr/>
        </p:nvSpPr>
        <p:spPr>
          <a:xfrm>
            <a:off x="959463" y="1783292"/>
            <a:ext cx="555336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altLang="zh-CN" sz="6000" dirty="0">
                <a:solidFill>
                  <a:schemeClr val="accent1"/>
                </a:solidFill>
                <a:latin typeface="+mj-ea"/>
                <a:ea typeface="+mj-ea"/>
                <a:cs typeface="OPPOSans H" panose="00020600040101010101" pitchFamily="18" charset="-122"/>
              </a:rPr>
              <a:t>Embodied AI</a:t>
            </a:r>
            <a:endParaRPr lang="zh-CN" altLang="en-US" sz="6000" dirty="0">
              <a:solidFill>
                <a:prstClr val="black"/>
              </a:solidFill>
              <a:latin typeface="+mj-ea"/>
              <a:ea typeface="+mj-ea"/>
              <a:cs typeface="OPPOSans H" panose="00020600040101010101" pitchFamily="18" charset="-122"/>
            </a:endParaRPr>
          </a:p>
        </p:txBody>
      </p:sp>
      <p:sp>
        <p:nvSpPr>
          <p:cNvPr id="6" name="小李PPT14"/>
          <p:cNvSpPr txBox="1"/>
          <p:nvPr/>
        </p:nvSpPr>
        <p:spPr>
          <a:xfrm>
            <a:off x="997563" y="3612300"/>
            <a:ext cx="5268472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altLang="zh-CN" sz="2000" dirty="0">
                <a:solidFill>
                  <a:prstClr val="white">
                    <a:lumMod val="75000"/>
                  </a:prstClr>
                </a:solidFill>
                <a:latin typeface="+mn-ea"/>
              </a:rPr>
              <a:t>Review of annual work in outpatient </a:t>
            </a:r>
            <a:r>
              <a:rPr lang="en-US" altLang="zh-CN" sz="2000" dirty="0" err="1">
                <a:solidFill>
                  <a:prstClr val="white">
                    <a:lumMod val="75000"/>
                  </a:prstClr>
                </a:solidFill>
                <a:latin typeface="+mn-ea"/>
              </a:rPr>
              <a:t>departmentof</a:t>
            </a:r>
            <a:r>
              <a:rPr lang="en-US" altLang="zh-CN" sz="2000" dirty="0">
                <a:solidFill>
                  <a:prstClr val="white">
                    <a:lumMod val="75000"/>
                  </a:prstClr>
                </a:solidFill>
                <a:latin typeface="+mn-ea"/>
              </a:rPr>
              <a:t> municipal hospital</a:t>
            </a:r>
          </a:p>
        </p:txBody>
      </p:sp>
      <p:sp>
        <p:nvSpPr>
          <p:cNvPr id="7" name="小李PPT15"/>
          <p:cNvSpPr txBox="1"/>
          <p:nvPr/>
        </p:nvSpPr>
        <p:spPr>
          <a:xfrm>
            <a:off x="964070" y="5449813"/>
            <a:ext cx="1980029" cy="400110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zh-CN" altLang="en-US" sz="2000" dirty="0">
                <a:solidFill>
                  <a:srgbClr val="000000"/>
                </a:solidFill>
                <a:latin typeface="+mn-ea"/>
              </a:rPr>
              <a:t>汇报人：张力中</a:t>
            </a:r>
            <a:endParaRPr lang="en-US" altLang="zh-CN" sz="2000" dirty="0">
              <a:solidFill>
                <a:srgbClr val="000000"/>
              </a:solidFill>
              <a:latin typeface="+mn-ea"/>
            </a:endParaRPr>
          </a:p>
        </p:txBody>
      </p:sp>
      <p:pic>
        <p:nvPicPr>
          <p:cNvPr id="14" name="小李PPT16" descr="电脑的屏幕&#10;&#10;描述已自动生成"/>
          <p:cNvPicPr>
            <a:picLocks noChangeAspect="1"/>
          </p:cNvPicPr>
          <p:nvPr/>
        </p:nvPicPr>
        <p:blipFill>
          <a:blip r:embed="rId2" cstate="email"/>
          <a:stretch>
            <a:fillRect/>
          </a:stretch>
        </p:blipFill>
        <p:spPr>
          <a:xfrm>
            <a:off x="5695043" y="1581877"/>
            <a:ext cx="6830814" cy="3977565"/>
          </a:xfrm>
          <a:prstGeom prst="rect">
            <a:avLst/>
          </a:prstGeom>
        </p:spPr>
      </p:pic>
      <p:pic>
        <p:nvPicPr>
          <p:cNvPr id="15" name="小李PPT17"/>
          <p:cNvPicPr>
            <a:picLocks noChangeAspect="1"/>
          </p:cNvPicPr>
          <p:nvPr/>
        </p:nvPicPr>
        <p:blipFill>
          <a:blip r:embed="rId3" cstate="email"/>
          <a:srcRect/>
          <a:stretch>
            <a:fillRect/>
          </a:stretch>
        </p:blipFill>
        <p:spPr>
          <a:xfrm>
            <a:off x="6441421" y="1791427"/>
            <a:ext cx="5317960" cy="3307249"/>
          </a:xfrm>
          <a:prstGeom prst="rect">
            <a:avLst/>
          </a:prstGeom>
        </p:spPr>
      </p:pic>
      <p:sp>
        <p:nvSpPr>
          <p:cNvPr id="18" name="小李PPT18"/>
          <p:cNvSpPr/>
          <p:nvPr/>
        </p:nvSpPr>
        <p:spPr>
          <a:xfrm>
            <a:off x="1055688" y="1212545"/>
            <a:ext cx="965008" cy="36933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en-US" altLang="zh-CN" sz="2400" dirty="0">
                <a:solidFill>
                  <a:schemeClr val="accent2"/>
                </a:solidFill>
                <a:latin typeface="+mj-ea"/>
                <a:ea typeface="+mj-ea"/>
                <a:cs typeface="阿里巴巴普惠体 Heavy" panose="00020600040101010101" pitchFamily="18" charset="-122"/>
              </a:rPr>
              <a:t>LOGO</a:t>
            </a:r>
            <a:endParaRPr lang="zh-CN" altLang="en-US" sz="2400" dirty="0">
              <a:solidFill>
                <a:schemeClr val="accent2"/>
              </a:solidFill>
              <a:latin typeface="+mj-ea"/>
              <a:ea typeface="+mj-ea"/>
              <a:cs typeface="阿里巴巴普惠体 Heavy" panose="00020600040101010101" pitchFamily="18" charset="-122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887322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66C6BD6A-85F7-695E-48E0-405EF13D54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12448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73" imgH="476" progId="TCLayout.ActiveDocument.1">
                  <p:embed/>
                </p:oleObj>
              </mc:Choice>
              <mc:Fallback>
                <p:oleObj name="think-cell 幻灯片" r:id="rId3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422517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05</TotalTime>
  <Words>17</Words>
  <Application>Microsoft Office PowerPoint</Application>
  <PresentationFormat>宽屏</PresentationFormat>
  <Paragraphs>4</Paragraphs>
  <Slides>3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3</vt:i4>
      </vt:variant>
    </vt:vector>
  </HeadingPairs>
  <TitlesOfParts>
    <vt:vector size="9" baseType="lpstr">
      <vt:lpstr>等线</vt:lpstr>
      <vt:lpstr>等线 Light</vt:lpstr>
      <vt:lpstr>Arial</vt:lpstr>
      <vt:lpstr>Montserrat</vt:lpstr>
      <vt:lpstr>Office 主题​​</vt:lpstr>
      <vt:lpstr>think-cell 幻灯片</vt:lpstr>
      <vt:lpstr>PowerPoint 演示文稿</vt:lpstr>
      <vt:lpstr>PowerPoint 演示文稿</vt:lpstr>
      <vt:lpstr>PowerPoint 演示文稿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lizhong zhang</dc:creator>
  <cp:lastModifiedBy>lizhong zhang</cp:lastModifiedBy>
  <cp:revision>6</cp:revision>
  <cp:lastPrinted>1999-12-31T16:00:00Z</cp:lastPrinted>
  <dcterms:created xsi:type="dcterms:W3CDTF">2024-08-29T02:15:38Z</dcterms:created>
  <dcterms:modified xsi:type="dcterms:W3CDTF">2024-09-02T08:31:05Z</dcterms:modified>
</cp:coreProperties>
</file>